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2"/>
  </p:notesMasterIdLst>
  <p:handoutMasterIdLst>
    <p:handoutMasterId r:id="rId23"/>
  </p:handoutMasterIdLst>
  <p:sldIdLst>
    <p:sldId id="256" r:id="rId3"/>
    <p:sldId id="257" r:id="rId4"/>
    <p:sldId id="258" r:id="rId5"/>
    <p:sldId id="259" r:id="rId6"/>
    <p:sldId id="261" r:id="rId7"/>
    <p:sldId id="265" r:id="rId8"/>
    <p:sldId id="262" r:id="rId9"/>
    <p:sldId id="263" r:id="rId10"/>
    <p:sldId id="264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60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30.11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30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34799" y="4654799"/>
            <a:ext cx="11523600" cy="360000"/>
          </a:xfrm>
        </p:spPr>
        <p:txBody>
          <a:bodyPr/>
          <a:lstStyle/>
          <a:p>
            <a:r>
              <a:rPr lang="de-DE" dirty="0"/>
              <a:t>Aachen, 30.11.2022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34799" y="5158799"/>
            <a:ext cx="11523600" cy="360000"/>
          </a:xfrm>
        </p:spPr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0"/>
          </p:nvPr>
        </p:nvSpPr>
        <p:spPr>
          <a:xfrm>
            <a:off x="334799" y="2782799"/>
            <a:ext cx="11523600" cy="961200"/>
          </a:xfrm>
        </p:spPr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14" name="Titel 4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961200"/>
          </a:xfrm>
        </p:spPr>
        <p:txBody>
          <a:bodyPr/>
          <a:lstStyle/>
          <a:p>
            <a:r>
              <a:rPr lang="de-DE" dirty="0"/>
              <a:t>Verteiltes Rechnen mittels autonomen Fahrzeugsteuergerä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34799" y="5806800"/>
            <a:ext cx="11523600" cy="792000"/>
          </a:xfrm>
        </p:spPr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39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1655548" y="1214914"/>
            <a:ext cx="1308371" cy="1156230"/>
            <a:chOff x="648984" y="5329137"/>
            <a:chExt cx="1308371" cy="1156230"/>
          </a:xfrm>
        </p:grpSpPr>
        <p:sp>
          <p:nvSpPr>
            <p:cNvPr id="5" name="Rechteck 4"/>
            <p:cNvSpPr/>
            <p:nvPr/>
          </p:nvSpPr>
          <p:spPr>
            <a:xfrm>
              <a:off x="648984" y="5356652"/>
              <a:ext cx="1308371" cy="11287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661DC29F-D068-D8D7-552F-D92CC6650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763" y="5329137"/>
              <a:ext cx="1093208" cy="1093208"/>
            </a:xfrm>
            <a:prstGeom prst="rect">
              <a:avLst/>
            </a:prstGeom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0C0B0150-3757-7ADF-8AD1-48AA6BF93443}"/>
                </a:ext>
              </a:extLst>
            </p:cNvPr>
            <p:cNvSpPr txBox="1"/>
            <p:nvPr/>
          </p:nvSpPr>
          <p:spPr>
            <a:xfrm>
              <a:off x="648984" y="6177590"/>
              <a:ext cx="13083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 smtClean="0"/>
                <a:t>Auftraggeber</a:t>
              </a:r>
              <a:endParaRPr lang="de-DE" sz="1400" b="1" dirty="0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9610" y="2486656"/>
            <a:ext cx="5760640" cy="3860863"/>
            <a:chOff x="551384" y="1356290"/>
            <a:chExt cx="5760640" cy="3860863"/>
          </a:xfrm>
        </p:grpSpPr>
        <p:sp>
          <p:nvSpPr>
            <p:cNvPr id="9" name="Rechteck 8"/>
            <p:cNvSpPr/>
            <p:nvPr/>
          </p:nvSpPr>
          <p:spPr>
            <a:xfrm>
              <a:off x="551384" y="1356290"/>
              <a:ext cx="5760640" cy="38608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648984" y="1730156"/>
              <a:ext cx="5480158" cy="3172123"/>
              <a:chOff x="563224" y="1700808"/>
              <a:chExt cx="10861367" cy="3980446"/>
            </a:xfrm>
          </p:grpSpPr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563224" y="2438890"/>
                <a:ext cx="4493601" cy="2046884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Benutzeroberoberfläche für Auftraggeber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Auftraggeber kann Applikation zur Verfügung stell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Rahmenbedingungen </a:t>
                </a:r>
                <a:r>
                  <a:rPr lang="de-DE" sz="1000" dirty="0"/>
                  <a:t>definier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/>
                  <a:t>Eingangsdaten für die Applikation bereitstellen, Ausgangsdaten empfang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</p:txBody>
          </p:sp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5519935" y="1700808"/>
                <a:ext cx="5904656" cy="281929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Verwaltungsapplikat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Verteilt Applikation vom Auftraggeber auf kompatible Steuergerät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Lädt Applikation auf Fahrzeugsteuergeräte</a:t>
                </a:r>
              </a:p>
              <a:p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Bietet Möglichkeit für parallele Berechnung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Ermittelt Verfügbare Rechenleistung von Fahrzeugen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Überwacht gelieferte Rechenleistung von Fahrzeugen</a:t>
                </a:r>
                <a:endParaRPr lang="de-DE" sz="1000" dirty="0"/>
              </a:p>
            </p:txBody>
          </p: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4827868" y="4792984"/>
                <a:ext cx="6584926" cy="888270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Kommunikationsschnittstelle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Implementiert Kommunikation mit der Fahrzeugflotte</a:t>
                </a:r>
                <a:endParaRPr lang="de-DE" sz="1000" dirty="0"/>
              </a:p>
            </p:txBody>
          </p:sp>
          <p:sp>
            <p:nvSpPr>
              <p:cNvPr id="15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7028483" y="4510244"/>
                <a:ext cx="648072" cy="296814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9469422" y="4520101"/>
                <a:ext cx="648072" cy="28695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 rot="5400000">
                <a:off x="4969512" y="3824274"/>
                <a:ext cx="648072" cy="45277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6200000">
                <a:off x="4982028" y="2650572"/>
                <a:ext cx="648072" cy="427737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" name="Textfeld 10"/>
            <p:cNvSpPr txBox="1"/>
            <p:nvPr/>
          </p:nvSpPr>
          <p:spPr>
            <a:xfrm>
              <a:off x="2656716" y="1389740"/>
              <a:ext cx="154997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Verwaltungsserver</a:t>
              </a: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699417" y="2480887"/>
            <a:ext cx="5079900" cy="3950137"/>
            <a:chOff x="6820858" y="1999143"/>
            <a:chExt cx="5079900" cy="3950137"/>
          </a:xfrm>
        </p:grpSpPr>
        <p:sp>
          <p:nvSpPr>
            <p:cNvPr id="20" name="Rechteck 19"/>
            <p:cNvSpPr/>
            <p:nvPr/>
          </p:nvSpPr>
          <p:spPr>
            <a:xfrm>
              <a:off x="6820858" y="1999143"/>
              <a:ext cx="5079900" cy="381742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6996945" y="2560717"/>
              <a:ext cx="4752528" cy="3388563"/>
              <a:chOff x="1487488" y="1690347"/>
              <a:chExt cx="8928993" cy="5183476"/>
            </a:xfrm>
          </p:grpSpPr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1487488" y="1690347"/>
                <a:ext cx="8928993" cy="847449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Kommunikationsschnittstelle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Implementiert Kommunikation mit Verwaltungsapplikation </a:t>
                </a:r>
                <a:endParaRPr lang="de-DE" sz="1000" dirty="0"/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1487488" y="2977344"/>
                <a:ext cx="8928993" cy="2031325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err="1" smtClean="0"/>
                  <a:t>Loader</a:t>
                </a:r>
                <a:r>
                  <a:rPr lang="de-DE" sz="1000" b="1" dirty="0" smtClean="0"/>
                  <a:t>-Applikatio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Empfängt externe Applikation als Binärcode und speichert es im Systemspeich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Kann externe Applikation starten und stopp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Kommuniziert mit externe Applikation über definierte Schnittstelle</a:t>
                </a:r>
                <a:endParaRPr lang="de-DE" sz="1000" dirty="0"/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369DD9A-CA56-2A11-B3F2-3793A83A0816}"/>
                  </a:ext>
                </a:extLst>
              </p:cNvPr>
              <p:cNvSpPr/>
              <p:nvPr/>
            </p:nvSpPr>
            <p:spPr>
              <a:xfrm>
                <a:off x="1487488" y="5481228"/>
                <a:ext cx="8928993" cy="972108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1487488" y="5555569"/>
                <a:ext cx="8784974" cy="1318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 smtClean="0"/>
                  <a:t>Externe Applikation</a:t>
                </a:r>
              </a:p>
              <a:p>
                <a:pPr algn="ctr"/>
                <a:endParaRPr lang="de-DE" sz="1000" b="1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Führt Berechnungen für Auftraggeber auf der Hardware aus</a:t>
                </a:r>
              </a:p>
              <a:p>
                <a:endParaRPr lang="en-GB" sz="1000" b="1" dirty="0"/>
              </a:p>
              <a:p>
                <a:endParaRPr lang="en-DE" sz="1000" b="1" dirty="0"/>
              </a:p>
            </p:txBody>
          </p:sp>
          <p:sp>
            <p:nvSpPr>
              <p:cNvPr id="27" name="Pfeil: nach unten 14">
                <a:extLst>
                  <a:ext uri="{FF2B5EF4-FFF2-40B4-BE49-F238E27FC236}">
                    <a16:creationId xmlns:a16="http://schemas.microsoft.com/office/drawing/2014/main" id="{97277DFA-B520-25C5-A9FF-CB7D1683ABE5}"/>
                  </a:ext>
                </a:extLst>
              </p:cNvPr>
              <p:cNvSpPr/>
              <p:nvPr/>
            </p:nvSpPr>
            <p:spPr>
              <a:xfrm>
                <a:off x="4375140" y="2537796"/>
                <a:ext cx="648073" cy="405466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Pfeil: nach unten 15">
                <a:extLst>
                  <a:ext uri="{FF2B5EF4-FFF2-40B4-BE49-F238E27FC236}">
                    <a16:creationId xmlns:a16="http://schemas.microsoft.com/office/drawing/2014/main" id="{D25F3B52-698F-3CAD-50BD-0D97EA2A64E8}"/>
                  </a:ext>
                </a:extLst>
              </p:cNvPr>
              <p:cNvSpPr/>
              <p:nvPr/>
            </p:nvSpPr>
            <p:spPr>
              <a:xfrm rot="10800000">
                <a:off x="6816080" y="2537796"/>
                <a:ext cx="648073" cy="40546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4354211" y="5042751"/>
                <a:ext cx="648073" cy="42753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6795149" y="5008669"/>
                <a:ext cx="648073" cy="46161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2" name="Textfeld 21"/>
            <p:cNvSpPr txBox="1"/>
            <p:nvPr/>
          </p:nvSpPr>
          <p:spPr>
            <a:xfrm>
              <a:off x="8490595" y="2004358"/>
              <a:ext cx="17043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Fahrzeugsteuergerät</a:t>
              </a:r>
            </a:p>
          </p:txBody>
        </p:sp>
      </p:grpSp>
      <p:cxnSp>
        <p:nvCxnSpPr>
          <p:cNvPr id="31" name="Gewinkelter Verbinder 30"/>
          <p:cNvCxnSpPr>
            <a:stCxn id="14" idx="3"/>
            <a:endCxn id="23" idx="1"/>
          </p:cNvCxnSpPr>
          <p:nvPr/>
        </p:nvCxnSpPr>
        <p:spPr>
          <a:xfrm flipV="1">
            <a:off x="6051416" y="3319460"/>
            <a:ext cx="824088" cy="2359242"/>
          </a:xfrm>
          <a:prstGeom prst="bentConnector3">
            <a:avLst/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r Verbinder 31"/>
          <p:cNvCxnSpPr>
            <a:stCxn id="12" idx="0"/>
            <a:endCxn id="7" idx="2"/>
          </p:cNvCxnSpPr>
          <p:nvPr/>
        </p:nvCxnSpPr>
        <p:spPr>
          <a:xfrm rot="5400000" flipH="1" flipV="1">
            <a:off x="1471502" y="2610488"/>
            <a:ext cx="1077575" cy="598889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313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551384" y="1340768"/>
            <a:ext cx="638442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Sicherheit</a:t>
            </a:r>
            <a:r>
              <a:rPr lang="de-DE" sz="1600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ei geeigneter Absicherung kann jeder </a:t>
            </a:r>
            <a:r>
              <a:rPr lang="de-DE" sz="1600" dirty="0" smtClean="0"/>
              <a:t>Auftraggeber sein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Einschränkungen für Applikationen ggf. nötig, code review, Identitätsnachwei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Zugriff des Applikationscodes im Fahrzeug einschränken (Virtualisierung, Speicherzugriff einschränke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Unautorisierte Zugänge sper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r>
              <a:rPr lang="de-DE" sz="1600" b="1" dirty="0"/>
              <a:t>Umsetzung Plattform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örsenähnliche Umsetzung möglich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geber erstellt Angebot mit benötigter Rechenleistung und Vergü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nehmer (Fahrzeuge) nehmen das jeweils beste Angebot an (Fahrzeugrechenleistung/Kompatibilität beachten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Bezahlung nach tatsächlich geleistete Rechenleistung, überwacht von der Verwal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szahlung zentral über Finanzdienstleister oder dezentral über Kryptowähru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endParaRPr lang="de-DE" sz="160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7009632" y="2204864"/>
            <a:ext cx="4624340" cy="2477173"/>
            <a:chOff x="7075230" y="1461984"/>
            <a:chExt cx="4294862" cy="1888547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75230" y="3068960"/>
              <a:ext cx="1124335" cy="28157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de-DE" dirty="0" smtClean="0"/>
                <a:t>Sicherheit</a:t>
              </a:r>
              <a:endParaRPr lang="de-DE" dirty="0"/>
            </a:p>
          </p:txBody>
        </p:sp>
        <p:grpSp>
          <p:nvGrpSpPr>
            <p:cNvPr id="7" name="Gruppieren 6"/>
            <p:cNvGrpSpPr/>
            <p:nvPr/>
          </p:nvGrpSpPr>
          <p:grpSpPr>
            <a:xfrm>
              <a:off x="7637398" y="1461984"/>
              <a:ext cx="3732694" cy="1888547"/>
              <a:chOff x="7637398" y="1461984"/>
              <a:chExt cx="3732694" cy="1888547"/>
            </a:xfrm>
          </p:grpSpPr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 smtClean="0"/>
                  <a:t>Flexibilität</a:t>
                </a:r>
                <a:endParaRPr lang="de-DE" dirty="0"/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95038" y="1461984"/>
                <a:ext cx="2291548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dirty="0" smtClean="0"/>
                  <a:t>Benutzerfreundlichkeit</a:t>
                </a:r>
                <a:endParaRPr lang="de-DE" dirty="0"/>
              </a:p>
            </p:txBody>
          </p:sp>
          <p:cxnSp>
            <p:nvCxnSpPr>
              <p:cNvPr id="10" name="Gerade Verbindung mit Pfeil 9"/>
              <p:cNvCxnSpPr>
                <a:stCxn id="6" idx="3"/>
                <a:endCxn id="8" idx="1"/>
              </p:cNvCxnSpPr>
              <p:nvPr/>
            </p:nvCxnSpPr>
            <p:spPr>
              <a:xfrm>
                <a:off x="8199566" y="3209745"/>
                <a:ext cx="1856875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mit Pfeil 10"/>
              <p:cNvCxnSpPr>
                <a:stCxn id="6" idx="0"/>
              </p:cNvCxnSpPr>
              <p:nvPr/>
            </p:nvCxnSpPr>
            <p:spPr>
              <a:xfrm flipV="1">
                <a:off x="7637398" y="1743555"/>
                <a:ext cx="1063764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8" idx="0"/>
              </p:cNvCxnSpPr>
              <p:nvPr/>
            </p:nvCxnSpPr>
            <p:spPr>
              <a:xfrm flipH="1" flipV="1">
                <a:off x="9637447" y="1743555"/>
                <a:ext cx="1075819" cy="132540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3" name="Gerade Verbindung 61"/>
          <p:cNvCxnSpPr/>
          <p:nvPr/>
        </p:nvCxnSpPr>
        <p:spPr>
          <a:xfrm flipH="1">
            <a:off x="695400" y="3212976"/>
            <a:ext cx="626779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10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85293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de-DE" dirty="0" smtClean="0"/>
              <a:t>Informationen</a:t>
            </a:r>
            <a:r>
              <a:rPr lang="en-US" dirty="0" smtClean="0"/>
              <a:t> </a:t>
            </a:r>
            <a:r>
              <a:rPr lang="de-DE" dirty="0" smtClean="0"/>
              <a:t>zur</a:t>
            </a:r>
            <a:r>
              <a:rPr lang="en-US" dirty="0" smtClean="0"/>
              <a:t> </a:t>
            </a:r>
            <a:r>
              <a:rPr lang="en-US" dirty="0"/>
              <a:t>Person</a:t>
            </a:r>
          </a:p>
          <a:p>
            <a:r>
              <a:rPr lang="de-DE" dirty="0" smtClean="0"/>
              <a:t>Einleitung</a:t>
            </a:r>
          </a:p>
          <a:p>
            <a:r>
              <a:rPr lang="de-DE" dirty="0" smtClean="0"/>
              <a:t>Verteiltes </a:t>
            </a:r>
            <a:r>
              <a:rPr lang="de-DE" dirty="0"/>
              <a:t>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849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Geplante Ziele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416" y="1461984"/>
            <a:ext cx="68407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Netzwerk- und Softwarearchitektur erarbei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die Verwaltung, lauffähig für PC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Fahrzeug, lauffähig auf POSIX konformem System. (</a:t>
            </a:r>
            <a:r>
              <a:rPr lang="de-DE" dirty="0" err="1"/>
              <a:t>Nvidia</a:t>
            </a:r>
            <a:r>
              <a:rPr lang="de-DE" dirty="0"/>
              <a:t> </a:t>
            </a:r>
            <a:r>
              <a:rPr lang="de-DE" dirty="0" err="1"/>
              <a:t>Jetson</a:t>
            </a:r>
            <a:r>
              <a:rPr lang="de-DE" dirty="0"/>
              <a:t> oder </a:t>
            </a:r>
            <a:r>
              <a:rPr lang="de-DE" dirty="0" err="1"/>
              <a:t>Raspberry</a:t>
            </a:r>
            <a:r>
              <a:rPr lang="de-DE" dirty="0"/>
              <a:t> P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Sicherheitskonzep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Plattformkonzepten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1340768"/>
            <a:ext cx="720080" cy="72008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1348408"/>
            <a:ext cx="720080" cy="72008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1340768"/>
            <a:ext cx="720080" cy="72008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1348408"/>
            <a:ext cx="720080" cy="72008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1350293"/>
            <a:ext cx="720080" cy="72008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123331"/>
            <a:ext cx="720080" cy="72008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2130971"/>
            <a:ext cx="720080" cy="72008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2123331"/>
            <a:ext cx="720080" cy="72008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2130971"/>
            <a:ext cx="720080" cy="72008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2132856"/>
            <a:ext cx="720080" cy="72008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7892" y="3894570"/>
            <a:ext cx="720080" cy="720080"/>
          </a:xfrm>
          <a:prstGeom prst="rect">
            <a:avLst/>
          </a:prstGeom>
        </p:spPr>
      </p:pic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7248128" y="5783529"/>
            <a:ext cx="819131" cy="819131"/>
            <a:chOff x="4843289" y="4914125"/>
            <a:chExt cx="1800200" cy="1800200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8180757" y="5773966"/>
            <a:ext cx="819131" cy="819131"/>
            <a:chOff x="4843289" y="4914125"/>
            <a:chExt cx="1800200" cy="180020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2" name="Gruppieren 21"/>
          <p:cNvGrpSpPr>
            <a:grpSpLocks noChangeAspect="1"/>
          </p:cNvGrpSpPr>
          <p:nvPr/>
        </p:nvGrpSpPr>
        <p:grpSpPr>
          <a:xfrm>
            <a:off x="9113386" y="5783529"/>
            <a:ext cx="819131" cy="819131"/>
            <a:chOff x="4843289" y="4914125"/>
            <a:chExt cx="1800200" cy="1800200"/>
          </a:xfrm>
        </p:grpSpPr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10046015" y="5773966"/>
            <a:ext cx="819131" cy="819131"/>
            <a:chOff x="4843289" y="4914125"/>
            <a:chExt cx="1800200" cy="1800200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8" name="Gruppieren 27"/>
          <p:cNvGrpSpPr>
            <a:grpSpLocks noChangeAspect="1"/>
          </p:cNvGrpSpPr>
          <p:nvPr/>
        </p:nvGrpSpPr>
        <p:grpSpPr>
          <a:xfrm>
            <a:off x="7739051" y="5088027"/>
            <a:ext cx="819131" cy="819131"/>
            <a:chOff x="4843289" y="4914125"/>
            <a:chExt cx="1800200" cy="1800200"/>
          </a:xfrm>
        </p:grpSpPr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1" name="Gruppieren 30"/>
          <p:cNvGrpSpPr>
            <a:grpSpLocks noChangeAspect="1"/>
          </p:cNvGrpSpPr>
          <p:nvPr/>
        </p:nvGrpSpPr>
        <p:grpSpPr>
          <a:xfrm>
            <a:off x="8671680" y="5078464"/>
            <a:ext cx="819131" cy="819131"/>
            <a:chOff x="4843289" y="4914125"/>
            <a:chExt cx="1800200" cy="1800200"/>
          </a:xfrm>
        </p:grpSpPr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4" name="Gruppieren 33"/>
          <p:cNvGrpSpPr>
            <a:grpSpLocks noChangeAspect="1"/>
          </p:cNvGrpSpPr>
          <p:nvPr/>
        </p:nvGrpSpPr>
        <p:grpSpPr>
          <a:xfrm>
            <a:off x="9604309" y="5088027"/>
            <a:ext cx="819131" cy="819131"/>
            <a:chOff x="4843289" y="4914125"/>
            <a:chExt cx="1800200" cy="1800200"/>
          </a:xfrm>
        </p:grpSpPr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7" name="Gruppieren 36"/>
          <p:cNvGrpSpPr>
            <a:grpSpLocks noChangeAspect="1"/>
          </p:cNvGrpSpPr>
          <p:nvPr/>
        </p:nvGrpSpPr>
        <p:grpSpPr>
          <a:xfrm>
            <a:off x="10536938" y="5078464"/>
            <a:ext cx="819131" cy="819131"/>
            <a:chOff x="4843289" y="4914125"/>
            <a:chExt cx="1800200" cy="1800200"/>
          </a:xfrm>
        </p:grpSpPr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cxnSp>
        <p:nvCxnSpPr>
          <p:cNvPr id="40" name="Gewinkelter Verbinder 39"/>
          <p:cNvCxnSpPr>
            <a:stCxn id="30" idx="0"/>
            <a:endCxn id="15" idx="1"/>
          </p:cNvCxnSpPr>
          <p:nvPr/>
        </p:nvCxnSpPr>
        <p:spPr>
          <a:xfrm rot="5400000" flipH="1" flipV="1">
            <a:off x="8316546" y="4086682"/>
            <a:ext cx="833417" cy="1169275"/>
          </a:xfrm>
          <a:prstGeom prst="bentConnector2">
            <a:avLst/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r Verbinder 40"/>
          <p:cNvCxnSpPr>
            <a:stCxn id="33" idx="0"/>
          </p:cNvCxnSpPr>
          <p:nvPr/>
        </p:nvCxnSpPr>
        <p:spPr>
          <a:xfrm rot="5400000" flipH="1" flipV="1">
            <a:off x="8985815" y="4696737"/>
            <a:ext cx="477159" cy="286296"/>
          </a:xfrm>
          <a:prstGeom prst="bentConnector3">
            <a:avLst>
              <a:gd name="adj1" fmla="val 101901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r Verbinder 41"/>
          <p:cNvCxnSpPr>
            <a:stCxn id="36" idx="0"/>
          </p:cNvCxnSpPr>
          <p:nvPr/>
        </p:nvCxnSpPr>
        <p:spPr>
          <a:xfrm rot="16200000" flipV="1">
            <a:off x="9758489" y="4832640"/>
            <a:ext cx="510773" cy="1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winkelter Verbinder 42"/>
          <p:cNvCxnSpPr>
            <a:stCxn id="39" idx="0"/>
          </p:cNvCxnSpPr>
          <p:nvPr/>
        </p:nvCxnSpPr>
        <p:spPr>
          <a:xfrm rot="16200000" flipV="1">
            <a:off x="10000241" y="4132201"/>
            <a:ext cx="1073399" cy="819128"/>
          </a:xfrm>
          <a:prstGeom prst="bentConnector3">
            <a:avLst>
              <a:gd name="adj1" fmla="val 996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r Verbinder 43"/>
          <p:cNvCxnSpPr>
            <a:stCxn id="27" idx="0"/>
          </p:cNvCxnSpPr>
          <p:nvPr/>
        </p:nvCxnSpPr>
        <p:spPr>
          <a:xfrm rot="16200000" flipV="1">
            <a:off x="9484584" y="4802969"/>
            <a:ext cx="1624886" cy="317108"/>
          </a:xfrm>
          <a:prstGeom prst="bentConnector3">
            <a:avLst>
              <a:gd name="adj1" fmla="val 98654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r Verbinder 44"/>
          <p:cNvCxnSpPr>
            <a:stCxn id="24" idx="0"/>
            <a:endCxn id="15" idx="2"/>
          </p:cNvCxnSpPr>
          <p:nvPr/>
        </p:nvCxnSpPr>
        <p:spPr>
          <a:xfrm rot="5400000" flipH="1" flipV="1">
            <a:off x="9016003" y="5121600"/>
            <a:ext cx="1168879" cy="154980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winkelter Verbinder 45"/>
          <p:cNvCxnSpPr>
            <a:stCxn id="21" idx="0"/>
          </p:cNvCxnSpPr>
          <p:nvPr/>
        </p:nvCxnSpPr>
        <p:spPr>
          <a:xfrm rot="5400000" flipH="1" flipV="1">
            <a:off x="8315889" y="4746362"/>
            <a:ext cx="1302038" cy="753170"/>
          </a:xfrm>
          <a:prstGeom prst="bentConnector3">
            <a:avLst>
              <a:gd name="adj1" fmla="val 99745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r Verbinder 46"/>
          <p:cNvCxnSpPr>
            <a:stCxn id="18" idx="0"/>
          </p:cNvCxnSpPr>
          <p:nvPr/>
        </p:nvCxnSpPr>
        <p:spPr>
          <a:xfrm rot="5400000" flipH="1" flipV="1">
            <a:off x="7626462" y="4081001"/>
            <a:ext cx="1733761" cy="1671297"/>
          </a:xfrm>
          <a:prstGeom prst="bentConnector3">
            <a:avLst>
              <a:gd name="adj1" fmla="val 1010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feil nach rechts 47"/>
          <p:cNvSpPr/>
          <p:nvPr/>
        </p:nvSpPr>
        <p:spPr>
          <a:xfrm rot="5400000">
            <a:off x="9369921" y="3090313"/>
            <a:ext cx="583820" cy="541372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916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21297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10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Fortschrit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Nächste Schritte</a:t>
            </a:r>
          </a:p>
        </p:txBody>
      </p:sp>
      <p:cxnSp>
        <p:nvCxnSpPr>
          <p:cNvPr id="8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180330" y="3198805"/>
            <a:ext cx="3856043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Konzept für die Verteilung von Rechenaufgaben auf Fahrzeugflotte erarbeiten</a:t>
            </a:r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Konzept für Verwaltung und </a:t>
            </a:r>
            <a:r>
              <a:rPr lang="de-DE" sz="1200" dirty="0" err="1" smtClean="0"/>
              <a:t>Loader</a:t>
            </a:r>
            <a:r>
              <a:rPr lang="de-DE" sz="1200" dirty="0" smtClean="0"/>
              <a:t> Applikation fertig stellen</a:t>
            </a:r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de-DE" sz="1200" dirty="0" smtClean="0"/>
              <a:t>Implementierung der Softwarekomponenten</a:t>
            </a:r>
            <a:endParaRPr lang="de-DE" sz="1200" dirty="0"/>
          </a:p>
        </p:txBody>
      </p:sp>
      <p:sp>
        <p:nvSpPr>
          <p:cNvPr id="10" name="Textfeld 9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usammenfassung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/>
              <a:t>Durch zunehmende Automatisierung der Fahrfunktionen in Straßenfahrzeugen wird zunehmend leistungsfähigere Hardware verbaut.</a:t>
            </a:r>
          </a:p>
          <a:p>
            <a:pPr>
              <a:spcAft>
                <a:spcPts val="600"/>
              </a:spcAft>
            </a:pPr>
            <a:r>
              <a:rPr lang="de-DE" sz="1200" dirty="0" smtClean="0"/>
              <a:t>Diese Ressourcen werden nicht in jeder Situation effektiv genutzt. Zusätzlich nimmt Rechenleistungsbedarf durch zunehmende Digitalisierung im Alltag zu.</a:t>
            </a:r>
          </a:p>
          <a:p>
            <a:pPr>
              <a:spcAft>
                <a:spcPts val="600"/>
              </a:spcAft>
            </a:pPr>
            <a:endParaRPr lang="de-DE" sz="1200" dirty="0" smtClean="0"/>
          </a:p>
          <a:p>
            <a:pPr>
              <a:spcAft>
                <a:spcPts val="600"/>
              </a:spcAft>
            </a:pPr>
            <a:r>
              <a:rPr lang="de-DE" sz="1200" dirty="0" smtClean="0"/>
              <a:t>Durch die Bereitstellung ungenutzte Rechenleistung von Fahrzeugen können externe Auftraggeber ihre Berechnungen wie in einem Cloud-Dienst durch das verteilte Rechnen auf Fahrzeugen ausführen lassen. Hierdurch lassen sich Ressourcen in Server und Netzwerkinfrastruktur einsparen. 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/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8506" y="2016219"/>
            <a:ext cx="5425367" cy="330888"/>
            <a:chOff x="1218506" y="2016408"/>
            <a:chExt cx="6450609" cy="393417"/>
          </a:xfrm>
        </p:grpSpPr>
        <p:sp>
          <p:nvSpPr>
            <p:cNvPr id="13" name="Richtungspfeil 12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>
                  <a:solidFill>
                    <a:schemeClr val="bg1"/>
                  </a:solidFill>
                </a:rPr>
                <a:t>Orientierung</a:t>
              </a:r>
            </a:p>
          </p:txBody>
        </p:sp>
        <p:grpSp>
          <p:nvGrpSpPr>
            <p:cNvPr id="14" name="Gruppieren 13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26" name="Chevron 25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Definition</a:t>
                </a:r>
              </a:p>
            </p:txBody>
          </p:sp>
        </p:grpSp>
        <p:grpSp>
          <p:nvGrpSpPr>
            <p:cNvPr id="15" name="Gruppieren 14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24" name="Chevron 23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Fokussierung</a:t>
                </a:r>
              </a:p>
            </p:txBody>
          </p:sp>
        </p:grpSp>
        <p:grpSp>
          <p:nvGrpSpPr>
            <p:cNvPr id="16" name="Gruppieren 15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22" name="Chevron 21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Wissenschaftliche Untersuchung</a:t>
                </a:r>
              </a:p>
            </p:txBody>
          </p:sp>
        </p:grpSp>
        <p:grpSp>
          <p:nvGrpSpPr>
            <p:cNvPr id="17" name="Gruppieren 16"/>
            <p:cNvGrpSpPr>
              <a:grpSpLocks noChangeAspect="1"/>
            </p:cNvGrpSpPr>
            <p:nvPr/>
          </p:nvGrpSpPr>
          <p:grpSpPr>
            <a:xfrm>
              <a:off x="6262795" y="2016408"/>
              <a:ext cx="1406320" cy="390740"/>
              <a:chOff x="6262795" y="2016408"/>
              <a:chExt cx="1406320" cy="390740"/>
            </a:xfrm>
          </p:grpSpPr>
          <p:grpSp>
            <p:nvGrpSpPr>
              <p:cNvPr id="18" name="Gruppieren 17"/>
              <p:cNvGrpSpPr/>
              <p:nvPr/>
            </p:nvGrpSpPr>
            <p:grpSpPr>
              <a:xfrm>
                <a:off x="6262795" y="2016408"/>
                <a:ext cx="1406320" cy="390740"/>
                <a:chOff x="2939277" y="1455488"/>
                <a:chExt cx="1049884" cy="390740"/>
              </a:xfrm>
            </p:grpSpPr>
            <p:sp>
              <p:nvSpPr>
                <p:cNvPr id="20" name="Rechteck 19"/>
                <p:cNvSpPr/>
                <p:nvPr/>
              </p:nvSpPr>
              <p:spPr>
                <a:xfrm>
                  <a:off x="3177287" y="1455488"/>
                  <a:ext cx="811874" cy="390738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Chevron 20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echteck 18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Abschlussphase</a:t>
                </a:r>
              </a:p>
            </p:txBody>
          </p:sp>
        </p:grpSp>
      </p:grpSp>
      <p:grpSp>
        <p:nvGrpSpPr>
          <p:cNvPr id="28" name="Gruppieren 27"/>
          <p:cNvGrpSpPr/>
          <p:nvPr/>
        </p:nvGrpSpPr>
        <p:grpSpPr>
          <a:xfrm>
            <a:off x="2617131" y="1984738"/>
            <a:ext cx="245318" cy="598431"/>
            <a:chOff x="4365903" y="2326513"/>
            <a:chExt cx="245318" cy="598431"/>
          </a:xfrm>
        </p:grpSpPr>
        <p:cxnSp>
          <p:nvCxnSpPr>
            <p:cNvPr id="29" name="Gerader Verbinder 28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Gleichschenkliges Dreieck 29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38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Highlight"/>
          <p:cNvGrpSpPr>
            <a:grpSpLocks/>
          </p:cNvGrpSpPr>
          <p:nvPr/>
        </p:nvGrpSpPr>
        <p:grpSpPr bwMode="auto">
          <a:xfrm>
            <a:off x="330200" y="3573016"/>
            <a:ext cx="11518900" cy="288776"/>
            <a:chOff x="342" y="1063"/>
            <a:chExt cx="4329" cy="276"/>
          </a:xfrm>
        </p:grpSpPr>
        <p:sp>
          <p:nvSpPr>
            <p:cNvPr id="50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51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53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9972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988840"/>
            <a:ext cx="5430252" cy="36004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AP 2.1.7 Plattformkomponente zur Nutzung von Fahrzeugrechner-Ressourcen für internes und externes verteiltes </a:t>
            </a:r>
            <a:r>
              <a:rPr lang="de-DE" dirty="0" smtClean="0"/>
              <a:t>Rechnen (20 PM):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rarbeitung von Sicherheitsmaßnahmen</a:t>
            </a:r>
            <a:endParaRPr lang="LID4096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70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799" y="2350799"/>
            <a:ext cx="11523600" cy="360000"/>
          </a:xfrm>
        </p:spPr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313999" y="5212799"/>
            <a:ext cx="10544400" cy="1170000"/>
          </a:xfrm>
        </p:spPr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11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2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3" name="Titel 3"/>
          <p:cNvSpPr txBox="1">
            <a:spLocks/>
          </p:cNvSpPr>
          <p:nvPr/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</a:t>
            </a:r>
            <a:r>
              <a:rPr lang="de-DE" dirty="0" smtClean="0"/>
              <a:t>				Fahrzeugtechnik </a:t>
            </a:r>
            <a:r>
              <a:rPr lang="de-DE" dirty="0"/>
              <a:t>an </a:t>
            </a:r>
            <a:r>
              <a:rPr lang="de-DE" dirty="0" smtClean="0"/>
              <a:t>der </a:t>
            </a:r>
            <a:r>
              <a:rPr lang="de-DE" dirty="0"/>
              <a:t>RWTH Aachen</a:t>
            </a:r>
            <a:endParaRPr lang="LID4096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8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UNICARagil</a:t>
            </a:r>
            <a:r>
              <a:rPr lang="de-DE" sz="1600" dirty="0"/>
              <a:t>: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AUTOtech.agil</a:t>
            </a:r>
            <a:r>
              <a:rPr lang="de-DE" sz="1600" dirty="0"/>
              <a:t>: </a:t>
            </a:r>
            <a:r>
              <a:rPr lang="de-DE" sz="1600" dirty="0" smtClean="0"/>
              <a:t>Softwareentwicklung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BCS</a:t>
            </a:r>
            <a:r>
              <a:rPr lang="de-DE" sz="1600" dirty="0"/>
              <a:t> </a:t>
            </a:r>
            <a:r>
              <a:rPr lang="de-DE" sz="1600" dirty="0" err="1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GKN</a:t>
            </a:r>
            <a:r>
              <a:rPr lang="de-DE" sz="1600" dirty="0"/>
              <a:t>: Support für Steuergeräteentwicklung, Hardware Tes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SPT</a:t>
            </a:r>
            <a:r>
              <a:rPr lang="de-DE" sz="1600" dirty="0"/>
              <a:t>: </a:t>
            </a:r>
            <a:r>
              <a:rPr lang="de-DE" sz="1600" dirty="0" err="1"/>
              <a:t>Steer-by-Wire</a:t>
            </a:r>
            <a:r>
              <a:rPr lang="de-DE" sz="1600" dirty="0"/>
              <a:t> Softwareentwicklung</a:t>
            </a:r>
            <a:endParaRPr lang="LID4096" sz="1600" dirty="0"/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6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0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1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hr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smtClean="0"/>
              <a:t>Rechenressourcen </a:t>
            </a:r>
            <a:r>
              <a:rPr lang="de-DE" dirty="0"/>
              <a:t>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2" name="Rechteck 11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41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12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3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4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41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6248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/>
              <a:t>Machine</a:t>
            </a:r>
            <a:r>
              <a:rPr lang="de-DE" dirty="0"/>
              <a:t>-Learning 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wendungsbereich: Stark </a:t>
            </a:r>
            <a:r>
              <a:rPr lang="de-DE" dirty="0" err="1"/>
              <a:t>parallelisierbare</a:t>
            </a:r>
            <a:r>
              <a:rPr lang="de-DE" dirty="0"/>
              <a:t> Berechnungen: Neuronale Netze, Astronomie, Biologie, Wettermodelle, Finanzen</a:t>
            </a:r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379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61DC29F-D068-D8D7-552F-D92CC66508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958" y="1249369"/>
            <a:ext cx="1512168" cy="15121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BBF0E27-4A05-5D59-13AF-E3B49F8D67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1550"/>
            <a:ext cx="1834895" cy="18348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15694BD-E9EF-E45B-18E7-A127C7DBF9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019" y="3605277"/>
            <a:ext cx="3703235" cy="3703235"/>
          </a:xfrm>
          <a:prstGeom prst="rect">
            <a:avLst/>
          </a:prstGeom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E5014ED-D05E-1996-72E9-5CEB64499F61}"/>
              </a:ext>
            </a:extLst>
          </p:cNvPr>
          <p:cNvCxnSpPr>
            <a:cxnSpLocks/>
          </p:cNvCxnSpPr>
          <p:nvPr/>
        </p:nvCxnSpPr>
        <p:spPr>
          <a:xfrm>
            <a:off x="6384032" y="1742599"/>
            <a:ext cx="3049601" cy="0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5D805AC-2D6A-5F3B-37F0-7F67AEC7F085}"/>
              </a:ext>
            </a:extLst>
          </p:cNvPr>
          <p:cNvCxnSpPr>
            <a:cxnSpLocks/>
          </p:cNvCxnSpPr>
          <p:nvPr/>
        </p:nvCxnSpPr>
        <p:spPr>
          <a:xfrm flipH="1">
            <a:off x="6468616" y="2422442"/>
            <a:ext cx="2853427" cy="1081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579986B-1113-A9AB-2100-1C85CB9D7C1A}"/>
              </a:ext>
            </a:extLst>
          </p:cNvPr>
          <p:cNvCxnSpPr>
            <a:cxnSpLocks/>
          </p:cNvCxnSpPr>
          <p:nvPr/>
        </p:nvCxnSpPr>
        <p:spPr>
          <a:xfrm flipH="1">
            <a:off x="8576393" y="2564904"/>
            <a:ext cx="961888" cy="2336363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2D8EDB-4B05-EC77-A6FE-631B50B3DA33}"/>
              </a:ext>
            </a:extLst>
          </p:cNvPr>
          <p:cNvCxnSpPr>
            <a:cxnSpLocks/>
          </p:cNvCxnSpPr>
          <p:nvPr/>
        </p:nvCxnSpPr>
        <p:spPr>
          <a:xfrm flipH="1" flipV="1">
            <a:off x="10776520" y="2390671"/>
            <a:ext cx="749580" cy="2510596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C4CA1006-B05C-8C5E-9402-44F42F606373}"/>
              </a:ext>
            </a:extLst>
          </p:cNvPr>
          <p:cNvSpPr txBox="1"/>
          <p:nvPr/>
        </p:nvSpPr>
        <p:spPr>
          <a:xfrm>
            <a:off x="6492125" y="1166939"/>
            <a:ext cx="2842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Applikation Bereit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Eingangsdaten für Applikation</a:t>
            </a:r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43AEE7-FF86-7BE8-0ED7-485BA873413C}"/>
              </a:ext>
            </a:extLst>
          </p:cNvPr>
          <p:cNvSpPr txBox="1"/>
          <p:nvPr/>
        </p:nvSpPr>
        <p:spPr>
          <a:xfrm>
            <a:off x="6468616" y="2071910"/>
            <a:ext cx="2931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Ergebnisse aus der Applikation</a:t>
            </a:r>
            <a:endParaRPr lang="de-DE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C61CBC5-1729-340A-85E2-5C6CC5B6F3F7}"/>
              </a:ext>
            </a:extLst>
          </p:cNvPr>
          <p:cNvSpPr txBox="1"/>
          <p:nvPr/>
        </p:nvSpPr>
        <p:spPr>
          <a:xfrm>
            <a:off x="9089687" y="3825044"/>
            <a:ext cx="2420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Applikation an das Fahrzeug übertra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Kommunikation mit Appl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4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C0B0150-3757-7ADF-8AD1-48AA6BF93443}"/>
              </a:ext>
            </a:extLst>
          </p:cNvPr>
          <p:cNvSpPr txBox="1"/>
          <p:nvPr/>
        </p:nvSpPr>
        <p:spPr>
          <a:xfrm>
            <a:off x="5035251" y="2422982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Auftraggeber</a:t>
            </a:r>
            <a:endParaRPr lang="de-DE" b="1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7B70FFD-08F4-77AD-6CF6-22AAAF28EBEB}"/>
              </a:ext>
            </a:extLst>
          </p:cNvPr>
          <p:cNvSpPr txBox="1"/>
          <p:nvPr/>
        </p:nvSpPr>
        <p:spPr>
          <a:xfrm>
            <a:off x="9538281" y="1852955"/>
            <a:ext cx="1415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Verwaltung</a:t>
            </a:r>
            <a:endParaRPr lang="de-DE" b="1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04C0B8C-169E-34FE-A2E8-E55FA4490D67}"/>
              </a:ext>
            </a:extLst>
          </p:cNvPr>
          <p:cNvSpPr txBox="1"/>
          <p:nvPr/>
        </p:nvSpPr>
        <p:spPr>
          <a:xfrm>
            <a:off x="9538281" y="604410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Fahrzeug</a:t>
            </a:r>
            <a:endParaRPr lang="de-DE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8A15356-9E10-1239-28C5-8F49F83305DF}"/>
              </a:ext>
            </a:extLst>
          </p:cNvPr>
          <p:cNvSpPr txBox="1"/>
          <p:nvPr/>
        </p:nvSpPr>
        <p:spPr>
          <a:xfrm>
            <a:off x="424248" y="1298957"/>
            <a:ext cx="458989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/>
              <a:t>Auftraggeber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Stellt Applikation der </a:t>
            </a:r>
            <a:r>
              <a:rPr lang="de-DE" sz="1600" dirty="0" err="1" smtClean="0"/>
              <a:t>Verwalungsapplikation</a:t>
            </a:r>
            <a:r>
              <a:rPr lang="de-DE" sz="1600" dirty="0" smtClean="0"/>
              <a:t> zur Verfügung</a:t>
            </a:r>
            <a:r>
              <a:rPr lang="en-GB" sz="1600" dirty="0" smtClean="0"/>
              <a:t>, </a:t>
            </a:r>
            <a:r>
              <a:rPr lang="en-GB" sz="1600" dirty="0"/>
              <a:t>die in </a:t>
            </a:r>
            <a:r>
              <a:rPr lang="de-DE" sz="1600" dirty="0" smtClean="0"/>
              <a:t>einem</a:t>
            </a:r>
            <a:r>
              <a:rPr lang="en-GB" sz="1600" dirty="0" smtClean="0"/>
              <a:t> Cloud</a:t>
            </a:r>
            <a:r>
              <a:rPr lang="de-DE" sz="1600" dirty="0" smtClean="0"/>
              <a:t> Dienst berechnet werden soll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Erhält Kommunikationsschnittstelle</a:t>
            </a:r>
            <a:r>
              <a:rPr lang="en-GB" sz="1600" dirty="0" smtClean="0"/>
              <a:t> </a:t>
            </a:r>
            <a:r>
              <a:rPr lang="en-GB" sz="1600" dirty="0"/>
              <a:t>für die </a:t>
            </a:r>
            <a:r>
              <a:rPr lang="de-DE" sz="1600" dirty="0" smtClean="0"/>
              <a:t>bereitgestellte Applik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Versorgt Applikation mit Daten, erhält Ergebni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r>
              <a:rPr lang="de-DE" sz="1600" b="1" dirty="0" smtClean="0"/>
              <a:t>Verwaltung</a:t>
            </a:r>
            <a:r>
              <a:rPr lang="en-GB" sz="1600" b="1" dirty="0" smtClean="0"/>
              <a:t>:</a:t>
            </a:r>
            <a:endParaRPr lang="en-GB" sz="1600" b="1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Nimmt Applikation vom Auftraggeber und verteilt es an Fahrzeug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ietet Kommunikationsschnittstellt für Auftraggeber und für Fahrzeu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r>
              <a:rPr lang="de-DE" sz="1600" b="1" dirty="0" smtClean="0"/>
              <a:t>Fahrzeug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1600" dirty="0" smtClean="0"/>
              <a:t>Bietet die Möglichkeit Applikationen von extern zu laden und lokal auszuführe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1600" dirty="0" smtClean="0"/>
              <a:t>Bietet Kommunikationsschnittstelle</a:t>
            </a:r>
            <a:r>
              <a:rPr lang="en-GB" sz="1600" dirty="0" smtClean="0"/>
              <a:t> </a:t>
            </a:r>
            <a:r>
              <a:rPr lang="en-GB" sz="1600" dirty="0" err="1" smtClean="0"/>
              <a:t>für</a:t>
            </a:r>
            <a:r>
              <a:rPr lang="en-GB" sz="1600" dirty="0" smtClean="0"/>
              <a:t> die von extern </a:t>
            </a:r>
            <a:r>
              <a:rPr lang="de-DE" sz="1600" dirty="0" smtClean="0"/>
              <a:t>geladene Appl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 smtClean="0"/>
          </a:p>
          <a:p>
            <a:endParaRPr lang="en-GB" sz="1600" dirty="0"/>
          </a:p>
          <a:p>
            <a:endParaRPr lang="en-DE" sz="1600" dirty="0"/>
          </a:p>
        </p:txBody>
      </p:sp>
      <p:cxnSp>
        <p:nvCxnSpPr>
          <p:cNvPr id="24" name="Gerade Verbindung 61"/>
          <p:cNvCxnSpPr/>
          <p:nvPr/>
        </p:nvCxnSpPr>
        <p:spPr>
          <a:xfrm>
            <a:off x="4871864" y="1484784"/>
            <a:ext cx="0" cy="4752528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377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581825" y="3451949"/>
            <a:ext cx="4830469" cy="2747735"/>
            <a:chOff x="6442489" y="3026972"/>
            <a:chExt cx="5533750" cy="3147785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13" name="Gruppieren 12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16" name="Grafik 15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18" name="Grafik 1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19" name="Grafik 18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0" name="Grafik 1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1" name="Grafik 2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22" name="Grafik 2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23" name="Gerader Verbinder 22"/>
                <p:cNvCxnSpPr>
                  <a:endCxn id="18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Gerader Verbinder 23"/>
                <p:cNvCxnSpPr>
                  <a:endCxn id="16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Gerader Verbinder 24"/>
                <p:cNvCxnSpPr>
                  <a:endCxn id="19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Gerader Verbinder 26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Gerader Verbinder 27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14" name="Grafik 1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15" name="Gerader Verbinder 14"/>
              <p:cNvCxnSpPr>
                <a:stCxn id="29" idx="1"/>
                <a:endCxn id="14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Textfeld 10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442489" y="3026972"/>
              <a:ext cx="1739427" cy="4231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grpSp>
        <p:nvGrpSpPr>
          <p:cNvPr id="30" name="Gruppieren 29"/>
          <p:cNvGrpSpPr>
            <a:grpSpLocks noChangeAspect="1"/>
          </p:cNvGrpSpPr>
          <p:nvPr/>
        </p:nvGrpSpPr>
        <p:grpSpPr>
          <a:xfrm>
            <a:off x="5805555" y="3285018"/>
            <a:ext cx="5659583" cy="2914665"/>
            <a:chOff x="-80833" y="3034615"/>
            <a:chExt cx="6097407" cy="3140143"/>
          </a:xfrm>
        </p:grpSpPr>
        <p:grpSp>
          <p:nvGrpSpPr>
            <p:cNvPr id="31" name="Gruppieren 30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35" name="Grafik 3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36" name="Gruppieren 3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39" name="Grafik 38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40" name="Grafik 3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1" name="Grafik 4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2" name="Grafik 4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3" name="Grafik 42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5" name="Grafik 44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6" name="Grafik 45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47" name="Gerader Verbinder 46"/>
                <p:cNvCxnSpPr>
                  <a:endCxn id="41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r Verbinder 47"/>
                <p:cNvCxnSpPr>
                  <a:endCxn id="40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>
                  <a:endCxn id="42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r Verbinder 49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Gerader Verbinder 51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53" name="Grafik 52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54" name="Gerader Verbinder 53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Gerader Verbinder 54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7" name="Gerader Verbinder 36"/>
              <p:cNvCxnSpPr>
                <a:stCxn id="35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>
                <a:stCxn id="35" idx="3"/>
                <a:endCxn id="3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Textfeld 31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2430123" y="4562457"/>
              <a:ext cx="1428583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Fog </a:t>
              </a:r>
              <a:r>
                <a:rPr lang="de-DE" dirty="0"/>
                <a:t>Server</a:t>
              </a: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-80833" y="3501167"/>
              <a:ext cx="1635824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sp>
        <p:nvSpPr>
          <p:cNvPr id="56" name="Textfeld 55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Fog </a:t>
            </a:r>
            <a:r>
              <a:rPr lang="de-DE" b="1" dirty="0"/>
              <a:t>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ndpunkte verbinden sich mit örtlich lokalem </a:t>
            </a:r>
            <a:r>
              <a:rPr lang="de-DE" dirty="0" smtClean="0"/>
              <a:t>Fog </a:t>
            </a:r>
            <a:r>
              <a:rPr lang="de-DE" dirty="0"/>
              <a:t>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ommunikation zur Cloud über </a:t>
            </a:r>
            <a:r>
              <a:rPr lang="de-DE" dirty="0" smtClean="0"/>
              <a:t>Fog </a:t>
            </a:r>
            <a:r>
              <a:rPr lang="de-DE" dirty="0"/>
              <a:t>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duzierte Latenz und Bandbreitenverbrauch im </a:t>
            </a:r>
            <a:r>
              <a:rPr lang="de-DE" dirty="0" smtClean="0"/>
              <a:t>vergleich zur Edge Ansatz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Höhere Verwaltungskomplexität im Vergleich zur Edge Ansatz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Edge </a:t>
            </a:r>
            <a:r>
              <a:rPr lang="de-DE" b="1" dirty="0"/>
              <a:t>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lle Endpunkte verbinden sich direkt mit Cloud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ine zentrale Verwalt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Skalierbarkeit begrenzt durch Bandbreite und Latenz</a:t>
            </a:r>
          </a:p>
        </p:txBody>
      </p:sp>
      <p:cxnSp>
        <p:nvCxnSpPr>
          <p:cNvPr id="58" name="Gerade Verbindung 61"/>
          <p:cNvCxnSpPr/>
          <p:nvPr/>
        </p:nvCxnSpPr>
        <p:spPr>
          <a:xfrm flipH="1">
            <a:off x="5663952" y="1311414"/>
            <a:ext cx="1" cy="506991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314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903</Words>
  <Application>Microsoft Office PowerPoint</Application>
  <PresentationFormat>Breitbild</PresentationFormat>
  <Paragraphs>240</Paragraphs>
  <Slides>1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Wingdings</vt:lpstr>
      <vt:lpstr>I-Praesentation_Standard</vt:lpstr>
      <vt:lpstr>ika_Englisch</vt:lpstr>
      <vt:lpstr>think-cell Folie</vt:lpstr>
      <vt:lpstr>Verteiltes Rechnen mittels autonomen Fahrzeugsteuergeräten</vt:lpstr>
      <vt:lpstr>PowerPoint-Präsentation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Inhalt</vt:lpstr>
      <vt:lpstr>Softwarestruktur und Plattform</vt:lpstr>
      <vt:lpstr>Softwarestruktur und Plattform</vt:lpstr>
      <vt:lpstr>Inhalt</vt:lpstr>
      <vt:lpstr>Geplante Ziele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Bilkei-Gorzo</cp:lastModifiedBy>
  <cp:revision>17</cp:revision>
  <dcterms:created xsi:type="dcterms:W3CDTF">2022-11-29T15:56:53Z</dcterms:created>
  <dcterms:modified xsi:type="dcterms:W3CDTF">2022-11-30T14:08:50Z</dcterms:modified>
</cp:coreProperties>
</file>